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4.xml" ContentType="application/vnd.openxmlformats-officedocument.theme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717" r:id="rId3"/>
  </p:sldMasterIdLst>
  <p:notesMasterIdLst>
    <p:notesMasterId r:id="rId11"/>
  </p:notesMasterIdLst>
  <p:sldIdLst>
    <p:sldId id="426" r:id="rId4"/>
    <p:sldId id="518" r:id="rId5"/>
    <p:sldId id="519" r:id="rId6"/>
    <p:sldId id="520" r:id="rId7"/>
    <p:sldId id="521" r:id="rId8"/>
    <p:sldId id="514" r:id="rId9"/>
    <p:sldId id="511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B121"/>
    <a:srgbClr val="003366"/>
    <a:srgbClr val="92D050"/>
    <a:srgbClr val="4F81BD"/>
    <a:srgbClr val="8E00BB"/>
    <a:srgbClr val="E38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0672" autoAdjust="0"/>
    <p:restoredTop sz="99841" autoAdjust="0"/>
  </p:normalViewPr>
  <p:slideViewPr>
    <p:cSldViewPr>
      <p:cViewPr varScale="1">
        <p:scale>
          <a:sx n="75" d="100"/>
          <a:sy n="75" d="100"/>
        </p:scale>
        <p:origin x="-990" y="-96"/>
      </p:cViewPr>
      <p:guideLst>
        <p:guide orient="horz"/>
        <p:guide pos="56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McGovern\Desktop\CENTS%20Workshop\High-Prevalence%20Setting%20Exercise_v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McGovern\Desktop\CENTS%20Workshop\High-Prevalence%20Setting%20Exercise_v2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McGovern\Desktop\CENTS%20Workshop\High-Prevalence%20Setting%20Exercise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McGovern\Desktop\CENTS%20Workshop\High-Prevalence%20Setting%20Exercise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Total tests, number HIV+ identified, and testing yield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23709295700771491"/>
          <c:y val="0.37590006112183055"/>
          <c:w val="0.40462256991845946"/>
          <c:h val="0.57178361426261715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'Outputs Tab'!$J$4:$J$5</c:f>
              <c:strCache>
                <c:ptCount val="1"/>
                <c:pt idx="0">
                  <c:v>Target Years Current number of test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3.40011935222097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J$17</c:f>
              <c:numCache>
                <c:formatCode>#,##0</c:formatCode>
                <c:ptCount val="1"/>
                <c:pt idx="0">
                  <c:v>857469.01249999995</c:v>
                </c:pt>
              </c:numCache>
            </c:numRef>
          </c:val>
        </c:ser>
        <c:ser>
          <c:idx val="5"/>
          <c:order val="1"/>
          <c:tx>
            <c:strRef>
              <c:f>'Outputs Tab'!$K$4:$K$5</c:f>
              <c:strCache>
                <c:ptCount val="1"/>
                <c:pt idx="0">
                  <c:v>Target Years Current number HIV+ identifi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K$17</c:f>
              <c:numCache>
                <c:formatCode>#,##0</c:formatCode>
                <c:ptCount val="1"/>
                <c:pt idx="0">
                  <c:v>71747.448762619024</c:v>
                </c:pt>
              </c:numCache>
            </c:numRef>
          </c:val>
        </c:ser>
        <c:ser>
          <c:idx val="7"/>
          <c:order val="2"/>
          <c:tx>
            <c:strRef>
              <c:f>'Outputs Tab'!$O$4:$O$5</c:f>
              <c:strCache>
                <c:ptCount val="1"/>
                <c:pt idx="0">
                  <c:v>Target Years Proposed number of test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O$17</c:f>
              <c:numCache>
                <c:formatCode>#,##0</c:formatCode>
                <c:ptCount val="1"/>
                <c:pt idx="0">
                  <c:v>1247179.125</c:v>
                </c:pt>
              </c:numCache>
            </c:numRef>
          </c:val>
        </c:ser>
        <c:ser>
          <c:idx val="8"/>
          <c:order val="3"/>
          <c:tx>
            <c:strRef>
              <c:f>'Outputs Tab'!$P$4:$P$5</c:f>
              <c:strCache>
                <c:ptCount val="1"/>
                <c:pt idx="0">
                  <c:v>Target Years Proposed number HIV+ identified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P$17</c:f>
              <c:numCache>
                <c:formatCode>#,##0</c:formatCode>
                <c:ptCount val="1"/>
                <c:pt idx="0">
                  <c:v>108786.994642218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8"/>
        <c:overlap val="-51"/>
        <c:axId val="105320448"/>
        <c:axId val="105322368"/>
      </c:barChart>
      <c:catAx>
        <c:axId val="105320448"/>
        <c:scaling>
          <c:orientation val="minMax"/>
        </c:scaling>
        <c:delete val="0"/>
        <c:axPos val="b"/>
        <c:majorTickMark val="out"/>
        <c:minorTickMark val="none"/>
        <c:tickLblPos val="nextTo"/>
        <c:crossAx val="105322368"/>
        <c:crosses val="autoZero"/>
        <c:auto val="1"/>
        <c:lblAlgn val="ctr"/>
        <c:lblOffset val="100"/>
        <c:noMultiLvlLbl val="0"/>
      </c:catAx>
      <c:valAx>
        <c:axId val="105322368"/>
        <c:scaling>
          <c:orientation val="minMax"/>
          <c:max val="175000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umber of Tests/HIV+ Identified</a:t>
                </a:r>
              </a:p>
            </c:rich>
          </c:tx>
          <c:layout>
            <c:manualLayout>
              <c:xMode val="edge"/>
              <c:yMode val="edge"/>
              <c:x val="2.516338639019244E-2"/>
              <c:y val="0.30789767407740976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crossAx val="1053204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001617157358705"/>
          <c:y val="0.16634481547391641"/>
          <c:w val="0.3193956031980737"/>
          <c:h val="0.7761479217908294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Total cost for HIV testing strategy and cost per HIV+ identified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4.2976102861823642E-2"/>
          <c:y val="0.22842189164651974"/>
          <c:w val="0.70686215595201629"/>
          <c:h val="0.41369329795945486"/>
        </c:manualLayout>
      </c:layout>
      <c:barChart>
        <c:barDir val="bar"/>
        <c:grouping val="clustered"/>
        <c:varyColors val="0"/>
        <c:ser>
          <c:idx val="11"/>
          <c:order val="0"/>
          <c:tx>
            <c:strRef>
              <c:f>'Outputs Tab'!$Q$5</c:f>
              <c:strCache>
                <c:ptCount val="1"/>
                <c:pt idx="0">
                  <c:v>Proposed cost of strategy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2.5558337700514687E-3"/>
                  <c:y val="3.37570052676595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Q$17</c:f>
              <c:numCache>
                <c:formatCode>"$"#,##0</c:formatCode>
                <c:ptCount val="1"/>
                <c:pt idx="0">
                  <c:v>7066748.6092063868</c:v>
                </c:pt>
              </c:numCache>
            </c:numRef>
          </c:val>
        </c:ser>
        <c:ser>
          <c:idx val="6"/>
          <c:order val="1"/>
          <c:tx>
            <c:strRef>
              <c:f>'Outputs Tab'!$L$5</c:f>
              <c:strCache>
                <c:ptCount val="1"/>
                <c:pt idx="0">
                  <c:v>Current cost of strategy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L$17</c:f>
              <c:numCache>
                <c:formatCode>"$"#,##0</c:formatCode>
                <c:ptCount val="1"/>
                <c:pt idx="0">
                  <c:v>4628831.70801299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5"/>
        <c:axId val="105360768"/>
        <c:axId val="105378944"/>
      </c:barChart>
      <c:catAx>
        <c:axId val="105360768"/>
        <c:scaling>
          <c:orientation val="minMax"/>
        </c:scaling>
        <c:delete val="0"/>
        <c:axPos val="l"/>
        <c:majorTickMark val="out"/>
        <c:minorTickMark val="none"/>
        <c:tickLblPos val="nextTo"/>
        <c:crossAx val="105378944"/>
        <c:crosses val="autoZero"/>
        <c:auto val="1"/>
        <c:lblAlgn val="ctr"/>
        <c:lblOffset val="100"/>
        <c:noMultiLvlLbl val="0"/>
      </c:catAx>
      <c:valAx>
        <c:axId val="105378944"/>
        <c:scaling>
          <c:orientation val="minMax"/>
          <c:max val="12000000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otal All-in Cost for HTS</a:t>
                </a:r>
              </a:p>
            </c:rich>
          </c:tx>
          <c:layout/>
          <c:overlay val="0"/>
        </c:title>
        <c:numFmt formatCode="&quot;$&quot;#,##0" sourceLinked="1"/>
        <c:majorTickMark val="out"/>
        <c:minorTickMark val="none"/>
        <c:tickLblPos val="nextTo"/>
        <c:crossAx val="10536076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Total tests, number HIV+ identified, and testing yield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4"/>
          <c:order val="0"/>
          <c:tx>
            <c:strRef>
              <c:f>'Outputs Tab'!$H$4:$H$5</c:f>
              <c:strCache>
                <c:ptCount val="1"/>
                <c:pt idx="0">
                  <c:v>2018-2020 Current number of test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Lit>
              <c:ptCount val="1"/>
            </c:strLit>
          </c:cat>
          <c:val>
            <c:numRef>
              <c:f>'Outputs Tab'!$H$26</c:f>
              <c:numCache>
                <c:formatCode>#,##0</c:formatCode>
                <c:ptCount val="1"/>
                <c:pt idx="0">
                  <c:v>1580623.6600000001</c:v>
                </c:pt>
              </c:numCache>
            </c:numRef>
          </c:val>
        </c:ser>
        <c:ser>
          <c:idx val="5"/>
          <c:order val="1"/>
          <c:tx>
            <c:strRef>
              <c:f>'Outputs Tab'!$I$4:$I$5</c:f>
              <c:strCache>
                <c:ptCount val="1"/>
                <c:pt idx="0">
                  <c:v>2018-2020 Current number HIV+ identifi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strLit>
              <c:ptCount val="1"/>
            </c:strLit>
          </c:cat>
          <c:val>
            <c:numRef>
              <c:f>'Outputs Tab'!$I$26</c:f>
              <c:numCache>
                <c:formatCode>#,##0</c:formatCode>
                <c:ptCount val="1"/>
                <c:pt idx="0">
                  <c:v>116276.58837726587</c:v>
                </c:pt>
              </c:numCache>
            </c:numRef>
          </c:val>
        </c:ser>
        <c:ser>
          <c:idx val="7"/>
          <c:order val="2"/>
          <c:tx>
            <c:strRef>
              <c:f>'Outputs Tab'!$M$4:$M$5</c:f>
              <c:strCache>
                <c:ptCount val="1"/>
                <c:pt idx="0">
                  <c:v>2018-2020 Proposed number of test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Lit>
              <c:ptCount val="1"/>
            </c:strLit>
          </c:cat>
          <c:val>
            <c:numRef>
              <c:f>'Outputs Tab'!$M$26</c:f>
              <c:numCache>
                <c:formatCode>#,##0</c:formatCode>
                <c:ptCount val="1"/>
                <c:pt idx="0">
                  <c:v>2447874.3024999998</c:v>
                </c:pt>
              </c:numCache>
            </c:numRef>
          </c:val>
        </c:ser>
        <c:ser>
          <c:idx val="8"/>
          <c:order val="3"/>
          <c:tx>
            <c:strRef>
              <c:f>'Outputs Tab'!$N$4:$N$5</c:f>
              <c:strCache>
                <c:ptCount val="1"/>
                <c:pt idx="0">
                  <c:v>2018-2020 Proposed number HIV+ identified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cat>
            <c:strLit>
              <c:ptCount val="1"/>
            </c:strLit>
          </c:cat>
          <c:val>
            <c:numRef>
              <c:f>'Outputs Tab'!$N$26</c:f>
              <c:numCache>
                <c:formatCode>#,##0</c:formatCode>
                <c:ptCount val="1"/>
                <c:pt idx="0">
                  <c:v>207276.471427675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8"/>
        <c:overlap val="-51"/>
        <c:axId val="105831808"/>
        <c:axId val="90190976"/>
      </c:barChart>
      <c:catAx>
        <c:axId val="105831808"/>
        <c:scaling>
          <c:orientation val="minMax"/>
        </c:scaling>
        <c:delete val="0"/>
        <c:axPos val="b"/>
        <c:majorTickMark val="out"/>
        <c:minorTickMark val="none"/>
        <c:tickLblPos val="nextTo"/>
        <c:crossAx val="90190976"/>
        <c:crosses val="autoZero"/>
        <c:auto val="1"/>
        <c:lblAlgn val="ctr"/>
        <c:lblOffset val="100"/>
        <c:noMultiLvlLbl val="0"/>
      </c:catAx>
      <c:valAx>
        <c:axId val="9019097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umber of Tests/HIV+ Identified</a:t>
                </a:r>
              </a:p>
            </c:rich>
          </c:tx>
          <c:overlay val="0"/>
        </c:title>
        <c:numFmt formatCode="#,##0" sourceLinked="1"/>
        <c:majorTickMark val="out"/>
        <c:minorTickMark val="none"/>
        <c:tickLblPos val="nextTo"/>
        <c:crossAx val="10583180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>
          <a:latin typeface="Calibri" panose="020F0502020204030204" pitchFamily="34" charset="0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Total cost for HIV testing strategy and cost per HIV+ identified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4.2976102861823642E-2"/>
          <c:y val="0.22842189164651974"/>
          <c:w val="0.81178231988704741"/>
          <c:h val="0.52033329320824806"/>
        </c:manualLayout>
      </c:layout>
      <c:barChart>
        <c:barDir val="bar"/>
        <c:grouping val="clustered"/>
        <c:varyColors val="0"/>
        <c:ser>
          <c:idx val="11"/>
          <c:order val="0"/>
          <c:tx>
            <c:strRef>
              <c:f>'Outputs Tab'!$O$5</c:f>
              <c:strCache>
                <c:ptCount val="1"/>
                <c:pt idx="0">
                  <c:v>Proposed cost of strategy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-0.57906649862757542"/>
                  <c:y val="4.3276029461562608E-3"/>
                </c:manualLayout>
              </c:layout>
              <c:spPr/>
              <c:txPr>
                <a:bodyPr/>
                <a:lstStyle/>
                <a:p>
                  <a:pPr>
                    <a:defRPr sz="13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O$26</c:f>
              <c:numCache>
                <c:formatCode>"$"#,##0</c:formatCode>
                <c:ptCount val="1"/>
                <c:pt idx="0">
                  <c:v>13334137.401008276</c:v>
                </c:pt>
              </c:numCache>
            </c:numRef>
          </c:val>
        </c:ser>
        <c:ser>
          <c:idx val="6"/>
          <c:order val="1"/>
          <c:tx>
            <c:strRef>
              <c:f>'Outputs Tab'!$J$5</c:f>
              <c:strCache>
                <c:ptCount val="1"/>
                <c:pt idx="0">
                  <c:v>Current cost of strategy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38028362387460662"/>
                  <c:y val="-2.8125059765752002E-7"/>
                </c:manualLayout>
              </c:layout>
              <c:spPr/>
              <c:txPr>
                <a:bodyPr/>
                <a:lstStyle/>
                <a:p>
                  <a:pPr>
                    <a:defRPr sz="13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3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Lit>
              <c:ptCount val="1"/>
            </c:strLit>
          </c:cat>
          <c:val>
            <c:numRef>
              <c:f>'Outputs Tab'!$J$26</c:f>
              <c:numCache>
                <c:formatCode>"$"#,##0</c:formatCode>
                <c:ptCount val="1"/>
                <c:pt idx="0">
                  <c:v>9547751.80809801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5"/>
        <c:axId val="90234880"/>
        <c:axId val="90236416"/>
      </c:barChart>
      <c:catAx>
        <c:axId val="90234880"/>
        <c:scaling>
          <c:orientation val="minMax"/>
        </c:scaling>
        <c:delete val="0"/>
        <c:axPos val="l"/>
        <c:majorTickMark val="out"/>
        <c:minorTickMark val="none"/>
        <c:tickLblPos val="nextTo"/>
        <c:crossAx val="90236416"/>
        <c:crosses val="autoZero"/>
        <c:auto val="1"/>
        <c:lblAlgn val="ctr"/>
        <c:lblOffset val="100"/>
        <c:noMultiLvlLbl val="0"/>
      </c:catAx>
      <c:valAx>
        <c:axId val="902364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otal All-in Cost for HTS</a:t>
                </a:r>
              </a:p>
            </c:rich>
          </c:tx>
          <c:overlay val="0"/>
        </c:title>
        <c:numFmt formatCode="&quot;$&quot;#,##0" sourceLinked="1"/>
        <c:majorTickMark val="out"/>
        <c:minorTickMark val="none"/>
        <c:tickLblPos val="nextTo"/>
        <c:crossAx val="90234880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DB8AB7-10E2-485C-A719-354BE020591B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F83D48-E723-40F8-8650-15785A179B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77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15900" indent="-215900" eaLnBrk="1" hangingPunct="1">
              <a:spcBef>
                <a:spcPct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670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65887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2C4B69-7CE4-5E43-AAD4-0D4E5871898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65887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2C4B69-7CE4-5E43-AAD4-0D4E5871898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65887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2C4B69-7CE4-5E43-AAD4-0D4E5871898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65887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2C4B69-7CE4-5E43-AAD4-0D4E5871898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9F59FE9-B0FC-4E72-A0AA-BF607A8057CB}" type="slidenum">
              <a:rPr lang="en-US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7050" y="1177925"/>
            <a:ext cx="10407650" cy="7807325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4" y="327911"/>
            <a:ext cx="4052887" cy="235783"/>
          </a:xfrm>
          <a:noFill/>
          <a:ln/>
        </p:spPr>
        <p:txBody>
          <a:bodyPr/>
          <a:lstStyle/>
          <a:p>
            <a:pPr marL="457200" lvl="1" indent="0" eaLnBrk="1" hangingPunct="1">
              <a:buFontTx/>
              <a:buNone/>
            </a:pPr>
            <a:endParaRPr lang="en-GB" baseline="0" dirty="0" smtClean="0">
              <a:latin typeface="Arial" pitchFamily="34" charset="0"/>
            </a:endParaRPr>
          </a:p>
          <a:p>
            <a:pPr marL="628650" lvl="1" indent="-171450" eaLnBrk="1" hangingPunct="1">
              <a:buFontTx/>
              <a:buChar char="-"/>
            </a:pPr>
            <a:endParaRPr lang="en-GB" dirty="0" smtClean="0">
              <a:latin typeface="Arial" pitchFamily="34" charset="0"/>
            </a:endParaRPr>
          </a:p>
        </p:txBody>
      </p:sp>
      <p:sp>
        <p:nvSpPr>
          <p:cNvPr id="43013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3563" y="1397521"/>
            <a:ext cx="5595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image" Target="../media/image2.emf"/><Relationship Id="rId3" Type="http://schemas.openxmlformats.org/officeDocument/2006/relationships/tags" Target="../tags/tag16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29" Type="http://schemas.openxmlformats.org/officeDocument/2006/relationships/oleObject" Target="../embeddings/oleObject6.bin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slideMaster" Target="../slideMasters/slideMaster3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image" Target="../media/image4.emf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oleObject" Target="../embeddings/oleObject5.bin"/><Relationship Id="rId30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image" Target="../media/image6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oleObject" Target="../embeddings/oleObject8.bin"/><Relationship Id="rId2" Type="http://schemas.openxmlformats.org/officeDocument/2006/relationships/tags" Target="../tags/tag37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841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4475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24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0"/>
            <a:ext cx="9144000" cy="6126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51108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D1979B-EACF-460F-A3E8-1DD9D28FA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397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8CDDA-7CFD-47DD-A480-C3E43D6A8CF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365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2AF391-D637-40EB-B01D-D52A53DEBE2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Placeholder 5"/>
          <p:cNvSpPr txBox="1">
            <a:spLocks/>
          </p:cNvSpPr>
          <p:nvPr userDrawn="1"/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6868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511175" indent="-228600">
              <a:buFont typeface="Wingdings" pitchFamily="2" charset="2"/>
              <a:buChar char="§"/>
              <a:defRPr sz="2000"/>
            </a:lvl2pPr>
            <a:lvl3pPr marL="806450" indent="-228600">
              <a:defRPr sz="1800"/>
            </a:lvl3pPr>
            <a:lvl4pPr marL="1089025" indent="-228600">
              <a:buFont typeface="Arial" pitchFamily="34" charset="0"/>
              <a:buChar char="•"/>
              <a:defRPr sz="1600"/>
            </a:lvl4pPr>
            <a:lvl5pPr marL="1263650" indent="-228600">
              <a:buFont typeface="Arial" pitchFamily="34" charset="0"/>
              <a:buChar char="•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6DDBCF-8802-4B29-85D7-091E46AC65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1"/>
          </p:nvPr>
        </p:nvSpPr>
        <p:spPr>
          <a:xfrm>
            <a:off x="4684058" y="1618129"/>
            <a:ext cx="4038600" cy="45259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511175" indent="-228600">
              <a:buFont typeface="Wingdings" pitchFamily="2" charset="2"/>
              <a:buChar char="§"/>
              <a:defRPr sz="2000"/>
            </a:lvl2pPr>
            <a:lvl3pPr marL="806450" indent="-228600">
              <a:defRPr sz="1800"/>
            </a:lvl3pPr>
            <a:lvl4pPr marL="1089025" indent="-228600">
              <a:buFont typeface="Arial" pitchFamily="34" charset="0"/>
              <a:buChar char="•"/>
              <a:defRPr sz="1600"/>
            </a:lvl4pPr>
            <a:lvl5pPr marL="1263650" indent="-228600">
              <a:buFont typeface="Arial" pitchFamily="34" charset="0"/>
              <a:buChar char="•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615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37394-698D-4361-AB41-39B862FD8C3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57200" y="2178424"/>
            <a:ext cx="4038600" cy="3947739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511175" indent="-228600">
              <a:buFont typeface="Arial" pitchFamily="34" charset="0"/>
              <a:buChar char="•"/>
              <a:defRPr sz="2000"/>
            </a:lvl2pPr>
            <a:lvl3pPr marL="806450" indent="-228600">
              <a:defRPr sz="1800"/>
            </a:lvl3pPr>
            <a:lvl4pPr marL="1089025" indent="-228600">
              <a:buFont typeface="Arial" pitchFamily="34" charset="0"/>
              <a:buChar char="•"/>
              <a:defRPr sz="1600"/>
            </a:lvl4pPr>
            <a:lvl5pPr marL="1263650" indent="-228600">
              <a:buFont typeface="Arial" pitchFamily="34" charset="0"/>
              <a:buChar char="•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657165" y="2196354"/>
            <a:ext cx="4038600" cy="3947739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511175" indent="-228600">
              <a:buFont typeface="Arial" pitchFamily="34" charset="0"/>
              <a:buChar char="•"/>
              <a:defRPr sz="2000"/>
            </a:lvl2pPr>
            <a:lvl3pPr marL="806450" indent="-228600">
              <a:defRPr sz="1800"/>
            </a:lvl3pPr>
            <a:lvl4pPr marL="1089025" indent="-228600">
              <a:buFont typeface="Arial" pitchFamily="34" charset="0"/>
              <a:buChar char="•"/>
              <a:defRPr sz="1600"/>
            </a:lvl4pPr>
            <a:lvl5pPr marL="1263650" indent="-228600">
              <a:buFont typeface="Arial" pitchFamily="34" charset="0"/>
              <a:buChar char="•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2499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944D99-665D-43B5-A36B-8D0B4985ACF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017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A31C09-2C0A-4119-A886-5F6E33B0AFC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680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527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52281"/>
            <a:ext cx="3008313" cy="88376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8835"/>
            <a:ext cx="5111750" cy="51310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 marL="581025" indent="-285750">
              <a:buFont typeface="Arial" pitchFamily="34" charset="0"/>
              <a:buChar char="•"/>
              <a:defRPr sz="2000"/>
            </a:lvl2pPr>
            <a:lvl3pPr marL="968375" indent="-228600">
              <a:defRPr sz="2000"/>
            </a:lvl3pPr>
            <a:lvl4pPr marL="1263650" indent="-228600">
              <a:buFont typeface="Arial" pitchFamily="34" charset="0"/>
              <a:buChar char="•"/>
              <a:defRPr sz="1600"/>
            </a:lvl4pPr>
            <a:lvl5pPr marL="1492250" indent="-228600">
              <a:buFont typeface="Arial" pitchFamily="34" charset="0"/>
              <a:buChar char="•"/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420471"/>
            <a:ext cx="3008313" cy="41494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54BA71-A52C-4C93-81C6-392152960A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Placeholder 5"/>
          <p:cNvSpPr txBox="1">
            <a:spLocks/>
          </p:cNvSpPr>
          <p:nvPr userDrawn="1"/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FFFFFF"/>
                </a:solidFill>
              </a:rPr>
              <a:t>Click to edit Master title style</a:t>
            </a:r>
            <a:endParaRPr lang="en-US" sz="2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8974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768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358899"/>
            <a:ext cx="5486400" cy="3368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494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09930-0FD2-4619-8B3B-F973C93ED97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9528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63F22-7F08-4DCB-B9B3-4A1468AF7C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31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371600"/>
            <a:ext cx="2057400" cy="4754563"/>
          </a:xfrm>
          <a:prstGeom prst="rect">
            <a:avLst/>
          </a:prstGeom>
        </p:spPr>
        <p:txBody>
          <a:bodyPr vert="eaVert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371600"/>
            <a:ext cx="6019800" cy="4754563"/>
          </a:xfrm>
          <a:prstGeom prst="rect">
            <a:avLst/>
          </a:prstGeom>
        </p:spPr>
        <p:txBody>
          <a:bodyPr vert="eaVert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6BA7EB-A81B-4CC1-8827-A248A26ADF2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3009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1498600"/>
            <a:ext cx="8229600" cy="46275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F46A52-DF43-48CC-852C-556A345D48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5"/>
          <p:cNvSpPr>
            <a:spLocks noGrp="1"/>
          </p:cNvSpPr>
          <p:nvPr>
            <p:ph type="title" idx="11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3766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19C0E-70A1-499A-8A93-7D3FE396D8B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564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0"/>
            <a:ext cx="9144000" cy="6126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92798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0" cy="5000625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5334000"/>
            <a:ext cx="213360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1886" y="3034405"/>
            <a:ext cx="7772400" cy="718911"/>
          </a:xfrm>
          <a:prstGeom prst="rect">
            <a:avLst/>
          </a:prstGeom>
        </p:spPr>
        <p:txBody>
          <a:bodyPr/>
          <a:lstStyle>
            <a:lvl1pPr algn="l">
              <a:defRPr sz="2800" baseline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This is the title of my presentation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805890"/>
            <a:ext cx="2438400" cy="37151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aseline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HAI Malaria</a:t>
            </a:r>
          </a:p>
        </p:txBody>
      </p:sp>
    </p:spTree>
    <p:extLst>
      <p:ext uri="{BB962C8B-B14F-4D97-AF65-F5344CB8AC3E}">
        <p14:creationId xmlns:p14="http://schemas.microsoft.com/office/powerpoint/2010/main" val="2537580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E1A134-AC5E-4EA2-B3A4-E7AFA212C9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81000" y="1143000"/>
            <a:ext cx="6248400" cy="350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9801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76" y="0"/>
            <a:ext cx="9111734" cy="912008"/>
          </a:xfrm>
          <a:prstGeom prst="rect">
            <a:avLst/>
          </a:prstGeom>
        </p:spPr>
        <p:txBody>
          <a:bodyPr/>
          <a:lstStyle>
            <a:lvl1pPr marL="234950" indent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95C13ED-DA35-4A13-83F9-818748C4FB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1865313" y="2247884"/>
            <a:ext cx="4953000" cy="2051973"/>
          </a:xfrm>
        </p:spPr>
        <p:txBody>
          <a:bodyPr/>
          <a:lstStyle>
            <a:lvl1pPr>
              <a:lnSpc>
                <a:spcPct val="150000"/>
              </a:lnSpc>
              <a:defRPr baseline="0"/>
            </a:lvl1pPr>
          </a:lstStyle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</p:spTree>
    <p:extLst>
      <p:ext uri="{BB962C8B-B14F-4D97-AF65-F5344CB8AC3E}">
        <p14:creationId xmlns:p14="http://schemas.microsoft.com/office/powerpoint/2010/main" val="3701148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9402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graphicFrame>
        <p:nvGraphicFramePr>
          <p:cNvPr id="5" name="Object 8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414338" y="1652588"/>
          <a:ext cx="7991475" cy="461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" name="Chart" r:id="rId17" imgW="10668000" imgH="6172200" progId="MSGraph.Chart.8">
                  <p:embed followColorScheme="full"/>
                </p:oleObj>
              </mc:Choice>
              <mc:Fallback>
                <p:oleObj name="Chart" r:id="rId17" imgW="10668000" imgH="61722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338" y="1652588"/>
                        <a:ext cx="7991475" cy="4619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28800" y="6176963"/>
            <a:ext cx="6080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FA1B599-208B-474C-BB70-669B3289C565}" type="datetime'''''''''2''''''''01''1''''''''''''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88972" y="6176963"/>
            <a:ext cx="5699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7F896BFF-7D3E-4B57-BCEE-E03F43789C5C}" type="datetime'''''''2''''''''0''''''1''''''''''''''''2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37816" y="6176963"/>
            <a:ext cx="531812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CD0D7C0-E8E2-4323-AA5E-5FFE87D5C11C}" type="datetime'''''''''''2''''''''''0''''1''''''''''''''''3''''''''''''''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89875" y="2260600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C2A6D42-1D91-4033-AF71-7B90EA65F69E}" type="datetime'''''''''''''''''''''''''''''S''e''''rie''''s''''''''''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889875" y="272732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BD6C156-6D8B-4DD9-BD68-F88C40AC871A}" type="datetime'''S''''''''''''eri''e''''''''''''''''''''''''''''''''''''s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889875" y="4465638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FBE60238-430C-4185-8E8A-7CBC89180D4E}" type="datetime'''''''''''''''''''Se''''r''''''i''e''s''''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2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85963" y="40052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EE6D32BE-BDF5-4839-A21A-0CD23EDBD6FA}" type="datetime'''''''''''''2''''''''''''''''''''''''''''''''''''''''2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462463" y="322421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22141A37-7C1C-4864-A5A0-28D22DAFE867}" type="datetime'''''''''''''''''3''''''''''''''''''''''''''''''''''''1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4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38963" y="1957388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F8037BF-D606-4869-9964-7AB63C748805}" type="datetime'''''''''''''''''''''''''''''''''4''''''6'''">
              <a:rPr lang="en-US" sz="140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5" name="TextBox 18"/>
          <p:cNvSpPr txBox="1">
            <a:spLocks noChangeArrowheads="1"/>
          </p:cNvSpPr>
          <p:nvPr/>
        </p:nvSpPr>
        <p:spPr bwMode="auto">
          <a:xfrm>
            <a:off x="12700" y="6481346"/>
            <a:ext cx="5116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Note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Source:</a:t>
            </a: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433388" y="1314450"/>
            <a:ext cx="107471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Chart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175"/>
            <a:ext cx="9114909" cy="911225"/>
          </a:xfrm>
          <a:prstGeom prst="rect">
            <a:avLst/>
          </a:prstGeom>
        </p:spPr>
        <p:txBody>
          <a:bodyPr/>
          <a:lstStyle>
            <a:lvl1pPr marL="234950" indent="0"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B2A2764E-12A4-495B-A392-2153619DDF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0943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graphicFrame>
        <p:nvGraphicFramePr>
          <p:cNvPr id="5" name="Object 8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414338" y="2300288"/>
          <a:ext cx="3609975" cy="397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" name="Chart" r:id="rId27" imgW="4826000" imgH="5308600" progId="MSGraph.Chart.8">
                  <p:embed followColorScheme="full"/>
                </p:oleObj>
              </mc:Choice>
              <mc:Fallback>
                <p:oleObj name="Chart" r:id="rId27" imgW="4826000" imgH="53086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338" y="2300288"/>
                        <a:ext cx="3609975" cy="397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68286" y="6176963"/>
            <a:ext cx="63182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78F5E02E-7D0B-472F-BF25-D9F8CBEFE2E1}" type="datetime'''''''''''2''''''''''''''0''''''''1''''''''''''2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66950" y="36242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EED0C45-F51E-46B0-AA32-C55D6828E8E0}" type="datetime'''''''''''''''''''''''3''''''''''1''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66800" y="6176963"/>
            <a:ext cx="5794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565688E6-4912-4300-8A91-4516C92BCB4E}" type="datetime'''''''''''''''''''''2''''''''''''011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52538" y="4281488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DE3CCD5E-39A6-4AF5-9FDC-4EC975B056F7}" type="datetime'''22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32225" y="468947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628AEFD3-9C24-4BD4-8C5F-D84442C9A0D5}" type="datetime'''''S''e''''r''''''''''''''''''''''''''i''''es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32225" y="322262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11D8430-C935-4A56-B127-B4B6A08EFC05}" type="datetime'''''''''''''''S''''''''er''''''i''''''''''''e''''''''''''s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2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832225" y="2832100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C47EE1F9-996F-445E-B3B1-3E41884CB1E7}" type="datetime'''''''''''S''e''''''r''''''''''''i''e''''s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03563" y="6176963"/>
            <a:ext cx="6302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E0BDC977-8391-47C1-9AAA-B2F07A205231}" type="datetime'''''''''''''2''''0''''''''''1''''''''''''''3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4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281363" y="25574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664244B0-1C06-41CA-99DB-2ED5E4F8EAAF}" type="datetime'''''''''''''''''''''''''''''''''''4''6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5" name="TextBox 18"/>
          <p:cNvSpPr txBox="1">
            <a:spLocks noChangeArrowheads="1"/>
          </p:cNvSpPr>
          <p:nvPr/>
        </p:nvSpPr>
        <p:spPr bwMode="auto">
          <a:xfrm>
            <a:off x="12700" y="6481346"/>
            <a:ext cx="5116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Note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Source:</a:t>
            </a: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420688" y="1992313"/>
            <a:ext cx="9664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Chart Title</a:t>
            </a:r>
          </a:p>
        </p:txBody>
      </p:sp>
      <p:graphicFrame>
        <p:nvGraphicFramePr>
          <p:cNvPr id="17" name="Object 2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4808538" y="2300288"/>
          <a:ext cx="3609975" cy="397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" name="Chart" r:id="rId29" imgW="4826000" imgH="5308600" progId="MSGraph.Chart.8">
                  <p:embed followColorScheme="full"/>
                </p:oleObj>
              </mc:Choice>
              <mc:Fallback>
                <p:oleObj name="Chart" r:id="rId29" imgW="4826000" imgH="53086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8538" y="2300288"/>
                        <a:ext cx="3609975" cy="397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487886" y="6176963"/>
            <a:ext cx="58102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DFB318E2-5645-4F94-80FA-A41535BE9C65}" type="datetime'''''''''''''''20''''''''''1''''''''''''''''''2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9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661150" y="36242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B8C35BC7-65F0-4FE2-A0C1-A1A8A8D3D599}" type="datetime'''''''''''''''''''''''''''''''''''''''''3''1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0" name="Rectangle 2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19058" y="6176963"/>
            <a:ext cx="5286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AEA9B0AF-60DF-42C7-A7DE-A919C1C0F1C1}" type="datetime'''''''''2''''''''''''''''''''0''''''''''''''''''1''''1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1" name="Rectangle 2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646738" y="4281488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C1F9B353-C8C3-48AB-A31D-0201FD17C5BF}" type="datetime'''2''''''''''2''''''''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2" name="Rectangle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226425" y="468947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94EFAC4-AB1F-4AFC-AE79-543D575CF41C}" type="datetime'Se''''''''''''''r''''i''''''''''''e''''s''''''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3" name="Rectangle 2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226425" y="322262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47647928-E8D8-4868-BA01-68A674FF8C41}" type="datetime'''S''''er''''''''''''''''''i''''''''''''''''e''s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4" name="Rectangle 2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226425" y="2832100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1189658-8509-438E-BF6A-7D3A76400763}" type="datetime'''''''S''e''''''''''''''ri''''e''s''''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5" name="Rectangle 2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498213" y="6176963"/>
            <a:ext cx="6302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9080380C-C73B-457E-B7FD-A52B4D43F1A6}" type="datetime'''''''''''''20''''''''''''1''''''''3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6" name="Rectangle 2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75563" y="25574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3882645-63AB-4A55-A491-95C764DB019C}" type="datetime'''''''''''4''''''''''''''''''''6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/>
        </p:nvSpPr>
        <p:spPr bwMode="auto">
          <a:xfrm>
            <a:off x="4808538" y="1992313"/>
            <a:ext cx="9664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Chart Title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420688" y="1258888"/>
            <a:ext cx="3902075" cy="67151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9440" tIns="49721" rIns="99440" bIns="49721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hart 1 Description…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4808538" y="1258888"/>
            <a:ext cx="3902075" cy="67151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9440" tIns="49721" rIns="99440" bIns="49721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hart 2 Description…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14909" cy="912008"/>
          </a:xfrm>
          <a:prstGeom prst="rect">
            <a:avLst/>
          </a:prstGeom>
        </p:spPr>
        <p:txBody>
          <a:bodyPr/>
          <a:lstStyle>
            <a:lvl1pPr marL="234950" indent="0"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BDDE0558-5994-4ABC-9D1A-88AE776A93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2313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graphicFrame>
        <p:nvGraphicFramePr>
          <p:cNvPr id="5" name="Object 8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414338" y="2300288"/>
          <a:ext cx="3609975" cy="397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" name="Chart" r:id="rId17" imgW="4826000" imgH="5308600" progId="MSGraph.Chart.8">
                  <p:embed followColorScheme="full"/>
                </p:oleObj>
              </mc:Choice>
              <mc:Fallback>
                <p:oleObj name="Chart" r:id="rId17" imgW="4826000" imgH="53086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4338" y="2300288"/>
                        <a:ext cx="3609975" cy="397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32225" y="468947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9AADE07-2BD8-442A-9F5F-6D5089D886BB}" type="datetime'''''S''''''e''r''''i''''''e''''''''''''''''''''''''''''s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32225" y="3222625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7E3D8BB-1344-467D-A991-9133302D5BBE}" type="datetime'''''''''''''''''Se''''''r''''i''''''''e''''''''''''''''s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32225" y="2832100"/>
            <a:ext cx="5032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6D06DB5E-264C-44C8-97E6-5F68CA2829E7}" type="datetime'''''''''''''S''''''er''''''''''''''''i''''''''''e''''s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91542" y="6176963"/>
            <a:ext cx="6302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006E74E-2C1B-4F63-BB75-D2A9268F57AC}" type="datetime'''''''''''''''''''''''''''''''2''''0''1''''''''3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281363" y="25574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23C3E8A2-D865-4000-9B97-8A3EEEEAFF80}" type="datetime'''46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00942" y="6176963"/>
            <a:ext cx="55562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68DBDED9-C98D-4B51-BB24-0B25D8A7BC32}" type="datetime'''''''''''''''''''''''''2''''0''''''''''''12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2" name="Rectangle 1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266950" y="3624263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D0F5AC58-41C5-43C7-A2D7-B21365A90B16}" type="datetime'''''''''''''''''''3''''''''''''''1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77686" y="6176963"/>
            <a:ext cx="579437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3FFF291-6C97-4C2D-A78B-4F92F437E36C}" type="datetime'2''0''''''''''''''''''''''''''''''''''''''''''''1''''1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4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52538" y="4281488"/>
            <a:ext cx="247650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A5F7CBD-DD06-4950-B217-0F16090CB002}" type="datetime'''''''''22'''''''''''''''''''''''''''''">
              <a:rPr lang="en-US" sz="1400">
                <a:solidFill>
                  <a:srgbClr val="000000"/>
                </a:solidFill>
                <a:latin typeface="Calibri" pitchFamily="34" charset="0"/>
                <a:cs typeface="Arial" charset="0"/>
                <a:sym typeface="Arial" charset="0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Arial" charset="0"/>
              <a:sym typeface="Arial" charset="0"/>
            </a:endParaRPr>
          </a:p>
        </p:txBody>
      </p:sp>
      <p:sp>
        <p:nvSpPr>
          <p:cNvPr id="15" name="TextBox 18"/>
          <p:cNvSpPr txBox="1">
            <a:spLocks noChangeArrowheads="1"/>
          </p:cNvSpPr>
          <p:nvPr/>
        </p:nvSpPr>
        <p:spPr bwMode="auto">
          <a:xfrm>
            <a:off x="12700" y="6481346"/>
            <a:ext cx="5116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Note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Source:</a:t>
            </a:r>
          </a:p>
        </p:txBody>
      </p:sp>
      <p:sp>
        <p:nvSpPr>
          <p:cNvPr id="16" name="TextBox 19"/>
          <p:cNvSpPr txBox="1">
            <a:spLocks noChangeArrowheads="1"/>
          </p:cNvSpPr>
          <p:nvPr/>
        </p:nvSpPr>
        <p:spPr bwMode="auto">
          <a:xfrm>
            <a:off x="420688" y="1992313"/>
            <a:ext cx="9664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Chart Title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420688" y="1258888"/>
            <a:ext cx="3902075" cy="67151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9440" tIns="49721" rIns="99440" bIns="49721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Chart 1 Description…</a:t>
            </a:r>
          </a:p>
        </p:txBody>
      </p:sp>
      <p:sp>
        <p:nvSpPr>
          <p:cNvPr id="18" name="Rounded Rectangle 17"/>
          <p:cNvSpPr/>
          <p:nvPr/>
        </p:nvSpPr>
        <p:spPr bwMode="auto">
          <a:xfrm>
            <a:off x="4808538" y="1258888"/>
            <a:ext cx="3902075" cy="67151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9440" tIns="49721" rIns="99440" bIns="49721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Further description…</a:t>
            </a:r>
          </a:p>
        </p:txBody>
      </p:sp>
      <p:sp>
        <p:nvSpPr>
          <p:cNvPr id="19" name="Source"/>
          <p:cNvSpPr>
            <a:spLocks noGrp="1"/>
          </p:cNvSpPr>
          <p:nvPr/>
        </p:nvSpPr>
        <p:spPr bwMode="auto">
          <a:xfrm>
            <a:off x="4808538" y="2247900"/>
            <a:ext cx="3902075" cy="94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800" tIns="46800" rIns="46800" bIns="46800"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First level bullet</a:t>
            </a:r>
          </a:p>
          <a:p>
            <a:pPr lvl="1">
              <a:buClr>
                <a:srgbClr val="000000"/>
              </a:buClr>
              <a:defRPr/>
            </a:pPr>
            <a:r>
              <a:rPr lang="en-US" sz="14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Second level bullet</a:t>
            </a:r>
          </a:p>
          <a:p>
            <a:pPr>
              <a:buClr>
                <a:srgbClr val="000000"/>
              </a:buClr>
              <a:defRPr/>
            </a:pP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First 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175"/>
            <a:ext cx="9114909" cy="908833"/>
          </a:xfrm>
          <a:prstGeom prst="rect">
            <a:avLst/>
          </a:prstGeom>
        </p:spPr>
        <p:txBody>
          <a:bodyPr/>
          <a:lstStyle>
            <a:lvl1pPr marL="234950" indent="0"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F8B475CF-EC6C-422E-8F6E-F2B3F6FD38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1235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22597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Calibri" pitchFamily="34" charset="0"/>
                <a:cs typeface="Arial" pitchFamily="34" charset="0"/>
              </a:defRPr>
            </a:lvl1pPr>
            <a:lvl2pPr>
              <a:defRPr sz="1600">
                <a:latin typeface="Calibri" pitchFamily="34" charset="0"/>
                <a:cs typeface="Arial" pitchFamily="34" charset="0"/>
              </a:defRPr>
            </a:lvl2pPr>
            <a:lvl3pPr>
              <a:defRPr sz="1600">
                <a:latin typeface="Calibri" pitchFamily="34" charset="0"/>
                <a:cs typeface="Arial" pitchFamily="34" charset="0"/>
              </a:defRPr>
            </a:lvl3pPr>
            <a:lvl4pPr>
              <a:defRPr sz="1600">
                <a:latin typeface="Calibri" pitchFamily="34" charset="0"/>
                <a:cs typeface="Arial" pitchFamily="34" charset="0"/>
              </a:defRPr>
            </a:lvl4pPr>
            <a:lvl5pPr>
              <a:defRPr sz="1600">
                <a:latin typeface="Calibri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1522597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Calibri" pitchFamily="34" charset="0"/>
                <a:cs typeface="Arial" pitchFamily="34" charset="0"/>
              </a:defRPr>
            </a:lvl1pPr>
            <a:lvl2pPr>
              <a:defRPr sz="1600">
                <a:latin typeface="Calibri" pitchFamily="34" charset="0"/>
                <a:cs typeface="Arial" pitchFamily="34" charset="0"/>
              </a:defRPr>
            </a:lvl2pPr>
            <a:lvl3pPr>
              <a:defRPr sz="1600">
                <a:latin typeface="Calibri" pitchFamily="34" charset="0"/>
                <a:cs typeface="Arial" pitchFamily="34" charset="0"/>
              </a:defRPr>
            </a:lvl3pPr>
            <a:lvl4pPr>
              <a:defRPr sz="1600">
                <a:latin typeface="Calibri" pitchFamily="34" charset="0"/>
                <a:cs typeface="Arial" pitchFamily="34" charset="0"/>
              </a:defRPr>
            </a:lvl4pPr>
            <a:lvl5pPr>
              <a:defRPr sz="1600">
                <a:latin typeface="Calibri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14909" cy="912008"/>
          </a:xfrm>
          <a:prstGeom prst="rect">
            <a:avLst/>
          </a:prstGeom>
        </p:spPr>
        <p:txBody>
          <a:bodyPr/>
          <a:lstStyle>
            <a:lvl1pPr marL="234950" indent="0">
              <a:defRPr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43370FBB-F928-4FDC-9464-B9846F914E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885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149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783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160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582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3792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859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5DF197-97E8-4409-AEA4-1243501419D4}" type="datetimeFigureOut">
              <a:rPr lang="en-US" smtClean="0"/>
              <a:t>7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51A29B-CAB1-40D6-9D92-526D15BDA7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93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Rectangle 7"/>
          <p:cNvSpPr>
            <a:spLocks noChangeArrowheads="1"/>
          </p:cNvSpPr>
          <p:nvPr/>
        </p:nvSpPr>
        <p:spPr bwMode="gray">
          <a:xfrm>
            <a:off x="0" y="1"/>
            <a:ext cx="9144000" cy="995082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2317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srgbClr val="000000"/>
              </a:solidFill>
            </a:endParaRPr>
          </a:p>
        </p:txBody>
      </p:sp>
      <p:sp>
        <p:nvSpPr>
          <p:cNvPr id="1127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77063" y="6577013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0" smtClean="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722264-9FE0-44DA-AFA8-8B574C360A92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80682" y="-1"/>
            <a:ext cx="8229600" cy="1008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359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marL="231775" indent="-231775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marL="231775" indent="-231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marL="231775" indent="-231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marL="231775" indent="-231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marL="231775" indent="-2317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6889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11461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6033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206057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0088" y="1277938"/>
            <a:ext cx="7786687" cy="1922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18313" y="630237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sz="1000" b="0" i="0" smtClean="0">
                <a:solidFill>
                  <a:srgbClr val="000000"/>
                </a:solidFill>
                <a:latin typeface="Verdana" pitchFamily="34" charset="0"/>
                <a:cs typeface="+mn-cs"/>
              </a:defRPr>
            </a:lvl1pPr>
          </a:lstStyle>
          <a:p>
            <a:pPr>
              <a:defRPr/>
            </a:pPr>
            <a:fld id="{8EE1A134-AC5E-4EA2-B3A4-E7AFA212C9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Rectangle 7"/>
          <p:cNvSpPr>
            <a:spLocks noChangeArrowheads="1"/>
          </p:cNvSpPr>
          <p:nvPr/>
        </p:nvSpPr>
        <p:spPr bwMode="gray">
          <a:xfrm>
            <a:off x="0" y="0"/>
            <a:ext cx="9144000" cy="9144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31775" fontAlgn="base">
              <a:spcBef>
                <a:spcPct val="0"/>
              </a:spcBef>
              <a:spcAft>
                <a:spcPct val="0"/>
              </a:spcAft>
            </a:pPr>
            <a:endParaRPr lang="en-US" sz="1700">
              <a:solidFill>
                <a:srgbClr val="284A8C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2979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</p:sldLayoutIdLst>
  <p:hf hdr="0" ftr="0" dt="0"/>
  <p:txStyles>
    <p:titleStyle>
      <a:lvl1pPr marL="2349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MS PGothic" pitchFamily="34" charset="-128"/>
          <a:cs typeface="Calibri" pitchFamily="34" charset="0"/>
        </a:defRPr>
      </a:lvl1pPr>
      <a:lvl2pPr marL="23495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MS PGothic" pitchFamily="34" charset="-128"/>
          <a:cs typeface="MS PGothic" pitchFamily="34" charset="-128"/>
        </a:defRPr>
      </a:lvl2pPr>
      <a:lvl3pPr marL="23495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MS PGothic" pitchFamily="34" charset="-128"/>
          <a:cs typeface="MS PGothic" pitchFamily="34" charset="-128"/>
        </a:defRPr>
      </a:lvl3pPr>
      <a:lvl4pPr marL="23495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MS PGothic" pitchFamily="34" charset="-128"/>
          <a:cs typeface="MS PGothic" pitchFamily="34" charset="-128"/>
        </a:defRPr>
      </a:lvl4pPr>
      <a:lvl5pPr marL="23495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ea typeface="MS PGothic" pitchFamily="34" charset="-128"/>
          <a:cs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Verdana" pitchFamily="34" charset="0"/>
        </a:defRPr>
      </a:lvl9pPr>
    </p:titleStyle>
    <p:bodyStyle>
      <a:lvl1pPr marL="271463" indent="-271463" algn="l" defTabSz="981075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ea typeface="MS PGothic" pitchFamily="34" charset="-128"/>
          <a:cs typeface="Arial" pitchFamily="34" charset="0"/>
        </a:defRPr>
      </a:lvl1pPr>
      <a:lvl2pPr marL="574675" indent="-119063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-"/>
        <a:defRPr sz="2200">
          <a:solidFill>
            <a:schemeClr val="tx1"/>
          </a:solidFill>
          <a:latin typeface="Calibri" pitchFamily="34" charset="0"/>
          <a:ea typeface="MS PGothic" pitchFamily="34" charset="-128"/>
          <a:cs typeface="Arial" pitchFamily="34" charset="0"/>
        </a:defRPr>
      </a:lvl2pPr>
      <a:lvl3pPr marL="1052513" indent="-287338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 sz="2000">
          <a:solidFill>
            <a:schemeClr val="tx1"/>
          </a:solidFill>
          <a:latin typeface="Calibri" pitchFamily="34" charset="0"/>
          <a:ea typeface="MS PGothic" pitchFamily="34" charset="-128"/>
          <a:cs typeface="Arial" pitchFamily="34" charset="0"/>
        </a:defRPr>
      </a:lvl3pPr>
      <a:lvl4pPr marL="1639888" indent="-20637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 sz="1900">
          <a:solidFill>
            <a:schemeClr val="tx1"/>
          </a:solidFill>
          <a:latin typeface="Calibri" pitchFamily="34" charset="0"/>
          <a:ea typeface="MS PGothic" pitchFamily="34" charset="-128"/>
          <a:cs typeface="Arial" pitchFamily="34" charset="0"/>
        </a:defRPr>
      </a:lvl4pPr>
      <a:lvl5pPr marL="2116138" indent="-33972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 sz="1800">
          <a:solidFill>
            <a:schemeClr val="tx1"/>
          </a:solidFill>
          <a:latin typeface="Calibri" pitchFamily="34" charset="0"/>
          <a:ea typeface="MS PGothic" pitchFamily="34" charset="-128"/>
          <a:cs typeface="Arial" pitchFamily="34" charset="0"/>
        </a:defRPr>
      </a:lvl5pPr>
      <a:lvl6pPr marL="2573338" indent="-33972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>
          <a:solidFill>
            <a:schemeClr val="tx1"/>
          </a:solidFill>
          <a:latin typeface="+mn-lt"/>
        </a:defRPr>
      </a:lvl6pPr>
      <a:lvl7pPr marL="3030538" indent="-33972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>
          <a:solidFill>
            <a:schemeClr val="tx1"/>
          </a:solidFill>
          <a:latin typeface="+mn-lt"/>
        </a:defRPr>
      </a:lvl7pPr>
      <a:lvl8pPr marL="3487738" indent="-33972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>
          <a:solidFill>
            <a:schemeClr val="tx1"/>
          </a:solidFill>
          <a:latin typeface="+mn-lt"/>
        </a:defRPr>
      </a:lvl8pPr>
      <a:lvl9pPr marL="3944938" indent="-339725" algn="l" defTabSz="98107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9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3"/>
          <p:cNvSpPr>
            <a:spLocks noChangeArrowheads="1"/>
          </p:cNvSpPr>
          <p:nvPr/>
        </p:nvSpPr>
        <p:spPr bwMode="auto">
          <a:xfrm>
            <a:off x="0" y="-1"/>
            <a:ext cx="9144000" cy="1001059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indent="228600"/>
            <a:endParaRPr lang="en-US" sz="1600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0244" name="Presentation Titl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600" y="1876425"/>
            <a:ext cx="7848600" cy="2976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615" tIns="41308" rIns="82615" bIns="41308">
            <a:prstTxWarp prst="textNoShape">
              <a:avLst/>
            </a:prstTxWarp>
            <a:spAutoFit/>
          </a:bodyPr>
          <a:lstStyle/>
          <a:p>
            <a:r>
              <a:rPr lang="en-US" sz="2800" dirty="0" smtClean="0">
                <a:solidFill>
                  <a:srgbClr val="000000"/>
                </a:solidFill>
                <a:cs typeface="Calibri"/>
              </a:rPr>
              <a:t>Simulation Activity: Yield and cost based on allocation of HTS resources</a:t>
            </a:r>
          </a:p>
          <a:p>
            <a:endParaRPr lang="en-US" sz="2800" b="0" dirty="0">
              <a:solidFill>
                <a:srgbClr val="000000"/>
              </a:solidFill>
              <a:latin typeface="Calibri"/>
              <a:cs typeface="Calibri"/>
            </a:endParaRPr>
          </a:p>
          <a:p>
            <a:r>
              <a:rPr lang="en-US" sz="2400" dirty="0" smtClean="0">
                <a:solidFill>
                  <a:srgbClr val="000000"/>
                </a:solidFill>
                <a:latin typeface="Calibri"/>
                <a:cs typeface="Calibri"/>
              </a:rPr>
              <a:t>IAS 2018</a:t>
            </a:r>
            <a:endParaRPr lang="en-US" sz="2400" b="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endParaRPr lang="en-US" sz="1600" b="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endParaRPr lang="en-US" sz="1600" b="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r>
              <a:rPr lang="en-US" sz="1600" b="0" dirty="0" smtClean="0">
                <a:solidFill>
                  <a:srgbClr val="000000"/>
                </a:solidFill>
                <a:latin typeface="Calibri"/>
                <a:cs typeface="Calibri"/>
              </a:rPr>
              <a:t>Amsterdam, Netherlands</a:t>
            </a:r>
          </a:p>
          <a:p>
            <a:r>
              <a:rPr lang="en-US" sz="1600" b="0" dirty="0" smtClean="0">
                <a:solidFill>
                  <a:srgbClr val="000000"/>
                </a:solidFill>
                <a:latin typeface="Calibri"/>
                <a:cs typeface="Calibri"/>
              </a:rPr>
              <a:t>July 25</a:t>
            </a:r>
            <a:r>
              <a:rPr lang="en-US" sz="1600" b="0" baseline="30000" dirty="0" smtClean="0">
                <a:solidFill>
                  <a:srgbClr val="000000"/>
                </a:solidFill>
                <a:latin typeface="Calibri"/>
                <a:cs typeface="Calibri"/>
              </a:rPr>
              <a:t>th</a:t>
            </a:r>
            <a:r>
              <a:rPr lang="en-US" sz="1600" b="0" dirty="0" smtClean="0">
                <a:solidFill>
                  <a:srgbClr val="000000"/>
                </a:solidFill>
                <a:latin typeface="Calibri"/>
                <a:cs typeface="Calibri"/>
              </a:rPr>
              <a:t>, 2018</a:t>
            </a:r>
            <a:endParaRPr lang="en-US" sz="1600" b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pic>
        <p:nvPicPr>
          <p:cNvPr id="5" name="Pictur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5562599"/>
            <a:ext cx="1956435" cy="1117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77287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008530"/>
          </a:xfrm>
        </p:spPr>
        <p:txBody>
          <a:bodyPr>
            <a:normAutofit/>
          </a:bodyPr>
          <a:lstStyle/>
          <a:p>
            <a:pPr marL="0" indent="0"/>
            <a:r>
              <a:rPr lang="en-US" dirty="0" smtClean="0">
                <a:solidFill>
                  <a:schemeClr val="bg1"/>
                </a:solidFill>
                <a:latin typeface="Calibri"/>
                <a:cs typeface="Calibri"/>
              </a:rPr>
              <a:t>Simulation objectives</a:t>
            </a:r>
            <a:endParaRPr lang="en-US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9600" y="1447800"/>
            <a:ext cx="746759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latin typeface="Calibri" panose="020F0502020204030204" pitchFamily="34" charset="0"/>
              </a:rPr>
              <a:t>Objectives</a:t>
            </a:r>
            <a:r>
              <a:rPr lang="en-US" dirty="0" smtClean="0">
                <a:latin typeface="Calibri" panose="020F0502020204030204" pitchFamily="34" charset="0"/>
              </a:rPr>
              <a:t>:</a:t>
            </a:r>
          </a:p>
          <a:p>
            <a:endParaRPr lang="en-US" dirty="0" smtClean="0">
              <a:latin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HTS program success should be measured by the number of HIV-infected </a:t>
            </a:r>
            <a:r>
              <a:rPr lang="en-US" dirty="0" smtClean="0">
                <a:latin typeface="Calibri" panose="020F0502020204030204" pitchFamily="34" charset="0"/>
              </a:rPr>
              <a:t>people identified </a:t>
            </a:r>
            <a:r>
              <a:rPr lang="en-US" dirty="0">
                <a:latin typeface="Calibri" panose="020F0502020204030204" pitchFamily="34" charset="0"/>
              </a:rPr>
              <a:t>and linked to </a:t>
            </a:r>
            <a:r>
              <a:rPr lang="en-US" dirty="0" smtClean="0">
                <a:latin typeface="Calibri" panose="020F0502020204030204" pitchFamily="34" charset="0"/>
              </a:rPr>
              <a:t>treatment (or HIV-negative people linked to prevention services), </a:t>
            </a:r>
            <a:r>
              <a:rPr lang="en-US" dirty="0">
                <a:latin typeface="Calibri" panose="020F0502020204030204" pitchFamily="34" charset="0"/>
              </a:rPr>
              <a:t>and the % of people knowing their status, rather than the absolute number of HIV tests </a:t>
            </a:r>
            <a:r>
              <a:rPr lang="en-US" dirty="0" smtClean="0">
                <a:latin typeface="Calibri" panose="020F0502020204030204" pitchFamily="34" charset="0"/>
              </a:rPr>
              <a:t>conduct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Selecting more cost-effective (loosely used) </a:t>
            </a:r>
            <a:r>
              <a:rPr lang="en-US" dirty="0" smtClean="0">
                <a:latin typeface="Calibri" panose="020F0502020204030204" pitchFamily="34" charset="0"/>
              </a:rPr>
              <a:t>strategy will </a:t>
            </a:r>
            <a:r>
              <a:rPr lang="en-US" dirty="0">
                <a:latin typeface="Calibri" panose="020F0502020204030204" pitchFamily="34" charset="0"/>
              </a:rPr>
              <a:t>result in a much lower total </a:t>
            </a:r>
            <a:r>
              <a:rPr lang="en-US" dirty="0" smtClean="0">
                <a:latin typeface="Calibri" panose="020F0502020204030204" pitchFamily="34" charset="0"/>
              </a:rPr>
              <a:t>cos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Key populations and high-prevalence groups should be prioritized, but due to smaller population sizes it likely will not be possible to reach targets </a:t>
            </a:r>
            <a:r>
              <a:rPr lang="en-US" dirty="0" smtClean="0">
                <a:latin typeface="Calibri" panose="020F0502020204030204" pitchFamily="34" charset="0"/>
              </a:rPr>
              <a:t>and epidemiological control through </a:t>
            </a:r>
            <a:r>
              <a:rPr lang="en-US" dirty="0">
                <a:latin typeface="Calibri" panose="020F0502020204030204" pitchFamily="34" charset="0"/>
              </a:rPr>
              <a:t>prioritizing these groups </a:t>
            </a:r>
            <a:r>
              <a:rPr lang="en-US" dirty="0" smtClean="0">
                <a:latin typeface="Calibri" panose="020F0502020204030204" pitchFamily="34" charset="0"/>
              </a:rPr>
              <a:t>alone generalized epidemic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</a:rPr>
              <a:t>While cost-effectiveness should drive the development of the strategy, there may be other considerations such as equity and access, that might affect program </a:t>
            </a:r>
            <a:r>
              <a:rPr lang="en-US" dirty="0" smtClean="0">
                <a:latin typeface="Calibri" panose="020F0502020204030204" pitchFamily="34" charset="0"/>
              </a:rPr>
              <a:t>decisions</a:t>
            </a: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301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gray">
          <a:xfrm>
            <a:off x="0" y="0"/>
            <a:ext cx="9144000" cy="100584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17475" defTabSz="457200"/>
            <a:r>
              <a:rPr lang="en-US" sz="2400" dirty="0" smtClean="0">
                <a:solidFill>
                  <a:srgbClr val="FFFFFF"/>
                </a:solidFill>
                <a:latin typeface="Calibri"/>
              </a:rPr>
              <a:t>Overview of the exercis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71600" y="5467290"/>
            <a:ext cx="67110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i="1" dirty="0" smtClean="0">
                <a:latin typeface="Calibri" panose="020F0502020204030204" pitchFamily="34" charset="0"/>
              </a:rPr>
              <a:t>Update the ‘proposed coverage’ to design your testing strategy</a:t>
            </a:r>
            <a:endParaRPr lang="en-US" sz="2000" i="1" dirty="0">
              <a:latin typeface="Calibri" panose="020F0502020204030204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52600"/>
            <a:ext cx="9144000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470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gray">
          <a:xfrm>
            <a:off x="0" y="0"/>
            <a:ext cx="9144000" cy="100584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17475" defTabSz="457200"/>
            <a:r>
              <a:rPr lang="en-US" sz="2400" dirty="0" smtClean="0">
                <a:solidFill>
                  <a:srgbClr val="FFFFFF"/>
                </a:solidFill>
                <a:latin typeface="Calibri"/>
              </a:rPr>
              <a:t>Overview of the output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706752" y="1295400"/>
            <a:ext cx="7772400" cy="5105400"/>
            <a:chOff x="591909" y="1274949"/>
            <a:chExt cx="5551717" cy="3735163"/>
          </a:xfrm>
        </p:grpSpPr>
        <p:graphicFrame>
          <p:nvGraphicFramePr>
            <p:cNvPr id="15" name="Chart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35434753"/>
                </p:ext>
              </p:extLst>
            </p:nvPr>
          </p:nvGraphicFramePr>
          <p:xfrm>
            <a:off x="591909" y="1274949"/>
            <a:ext cx="5551717" cy="37351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6" name="TextBox 3"/>
            <p:cNvSpPr txBox="1"/>
            <p:nvPr/>
          </p:nvSpPr>
          <p:spPr>
            <a:xfrm>
              <a:off x="2267856" y="2002972"/>
              <a:ext cx="634092" cy="28575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82E6AEBA-A570-4B62-80A3-0A122F7D6A35}" type="TxLink">
                <a:rPr lang="en-US" sz="1800" b="1" i="0" u="none" strike="noStrike">
                  <a:solidFill>
                    <a:srgbClr val="FF0000"/>
                  </a:solidFill>
                  <a:latin typeface="Calibri" panose="020F0502020204030204" pitchFamily="34" charset="0"/>
                </a:rPr>
                <a:pPr/>
                <a:t>8.27%</a:t>
              </a:fld>
              <a:endParaRPr lang="en-US" sz="1800" b="1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TextBox 4"/>
            <p:cNvSpPr txBox="1"/>
            <p:nvPr/>
          </p:nvSpPr>
          <p:spPr>
            <a:xfrm>
              <a:off x="2295070" y="2247903"/>
              <a:ext cx="459375" cy="2702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>
                  <a:solidFill>
                    <a:srgbClr val="FF0000"/>
                  </a:solidFill>
                  <a:latin typeface="Calibri" panose="020F0502020204030204" pitchFamily="34" charset="0"/>
                </a:rPr>
                <a:t>HIV+</a:t>
              </a:r>
            </a:p>
          </p:txBody>
        </p:sp>
        <p:sp>
          <p:nvSpPr>
            <p:cNvPr id="18" name="TextBox 5"/>
            <p:cNvSpPr txBox="1"/>
            <p:nvPr/>
          </p:nvSpPr>
          <p:spPr>
            <a:xfrm>
              <a:off x="3236175" y="1997530"/>
              <a:ext cx="895354" cy="29663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1B21B654-D2A1-4B9E-A7E4-A89C1CBB1B8E}" type="TxLink">
                <a:rPr lang="en-US" sz="1800" b="1" i="0" u="none" strike="noStrike">
                  <a:solidFill>
                    <a:srgbClr val="FF0000"/>
                  </a:solidFill>
                  <a:latin typeface="Calibri" panose="020F0502020204030204" pitchFamily="34" charset="0"/>
                </a:rPr>
                <a:pPr/>
                <a:t>10.47%</a:t>
              </a:fld>
              <a:endParaRPr lang="en-US" sz="2400" b="1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9" name="TextBox 6"/>
            <p:cNvSpPr txBox="1"/>
            <p:nvPr/>
          </p:nvSpPr>
          <p:spPr>
            <a:xfrm>
              <a:off x="3358640" y="2247903"/>
              <a:ext cx="459375" cy="2702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b="1" dirty="0">
                  <a:solidFill>
                    <a:srgbClr val="FF0000"/>
                  </a:solidFill>
                  <a:latin typeface="Calibri" panose="020F0502020204030204" pitchFamily="34" charset="0"/>
                </a:rPr>
                <a:t>HIV+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6066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gray">
          <a:xfrm>
            <a:off x="0" y="0"/>
            <a:ext cx="9144000" cy="100584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17475" defTabSz="457200"/>
            <a:r>
              <a:rPr lang="en-US" sz="2400" dirty="0" smtClean="0">
                <a:solidFill>
                  <a:srgbClr val="FFFFFF"/>
                </a:solidFill>
                <a:latin typeface="Calibri"/>
              </a:rPr>
              <a:t>Overview of the output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71501" y="1302062"/>
            <a:ext cx="8001000" cy="5257800"/>
            <a:chOff x="1973579" y="1660069"/>
            <a:chExt cx="5568046" cy="3446692"/>
          </a:xfrm>
        </p:grpSpPr>
        <p:graphicFrame>
          <p:nvGraphicFramePr>
            <p:cNvPr id="9" name="Chart 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70399525"/>
                </p:ext>
              </p:extLst>
            </p:nvPr>
          </p:nvGraphicFramePr>
          <p:xfrm>
            <a:off x="1973579" y="1660069"/>
            <a:ext cx="5568046" cy="34466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TextBox 7"/>
            <p:cNvSpPr txBox="1"/>
            <p:nvPr/>
          </p:nvSpPr>
          <p:spPr>
            <a:xfrm>
              <a:off x="6221965" y="2651278"/>
              <a:ext cx="722539" cy="272143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EA7A3BB5-88C4-48D6-94F9-259A3A4DD194}" type="TxLink">
                <a:rPr lang="en-US" sz="1800" b="1" i="0" u="none" strike="noStrike">
                  <a:solidFill>
                    <a:srgbClr val="FF0000"/>
                  </a:solidFill>
                  <a:latin typeface="Calibri" panose="020F0502020204030204" pitchFamily="34" charset="0"/>
                </a:rPr>
                <a:pPr/>
                <a:t>$65.50</a:t>
              </a:fld>
              <a:endParaRPr lang="en-US" sz="2400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TextBox 8"/>
            <p:cNvSpPr txBox="1"/>
            <p:nvPr/>
          </p:nvSpPr>
          <p:spPr>
            <a:xfrm>
              <a:off x="6067525" y="2820873"/>
              <a:ext cx="1031420" cy="38334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Per HIV+</a:t>
              </a:r>
              <a:r>
                <a:rPr lang="en-US" sz="1600" baseline="0" dirty="0">
                  <a:solidFill>
                    <a:srgbClr val="FF0000"/>
                  </a:solidFill>
                  <a:latin typeface="Calibri" panose="020F0502020204030204" pitchFamily="34" charset="0"/>
                </a:rPr>
                <a:t> identified</a:t>
              </a:r>
              <a:endParaRPr lang="en-US" sz="1600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TextBox 9"/>
            <p:cNvSpPr txBox="1"/>
            <p:nvPr/>
          </p:nvSpPr>
          <p:spPr>
            <a:xfrm>
              <a:off x="6230811" y="3345240"/>
              <a:ext cx="704848" cy="261259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4EBBE6C8-4A1F-4B84-9E90-1DBC35D10B45}" type="TxLink">
                <a:rPr lang="en-US" sz="1800" b="1" i="0" u="none" strike="noStrike">
                  <a:solidFill>
                    <a:srgbClr val="FF0000"/>
                  </a:solidFill>
                  <a:latin typeface="Calibri" panose="020F0502020204030204" pitchFamily="34" charset="0"/>
                </a:rPr>
                <a:pPr/>
                <a:t>$56.30</a:t>
              </a:fld>
              <a:endParaRPr lang="en-US" sz="320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6067525" y="3520202"/>
              <a:ext cx="1031420" cy="38334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t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>
                  <a:solidFill>
                    <a:srgbClr val="FF0000"/>
                  </a:solidFill>
                  <a:latin typeface="Calibri" panose="020F0502020204030204" pitchFamily="34" charset="0"/>
                </a:rPr>
                <a:t>Per HIV+</a:t>
              </a:r>
              <a:r>
                <a:rPr lang="en-US" sz="1600" baseline="0" dirty="0">
                  <a:solidFill>
                    <a:srgbClr val="FF0000"/>
                  </a:solidFill>
                  <a:latin typeface="Calibri" panose="020F0502020204030204" pitchFamily="34" charset="0"/>
                </a:rPr>
                <a:t> identified</a:t>
              </a:r>
              <a:endParaRPr lang="en-US" sz="1600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814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gray">
          <a:xfrm>
            <a:off x="0" y="0"/>
            <a:ext cx="9144000" cy="100584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17475" defTabSz="457200"/>
            <a:r>
              <a:rPr lang="en-US" sz="2400" dirty="0" smtClean="0">
                <a:solidFill>
                  <a:srgbClr val="FFFFFF"/>
                </a:solidFill>
                <a:latin typeface="Calibri"/>
              </a:rPr>
              <a:t>Instruction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47800" y="1524000"/>
            <a:ext cx="43674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Calibri" panose="020F0502020204030204" pitchFamily="34" charset="0"/>
              </a:rPr>
              <a:t>Break </a:t>
            </a:r>
            <a:r>
              <a:rPr lang="en-US" sz="2000" smtClean="0">
                <a:latin typeface="Calibri" panose="020F0502020204030204" pitchFamily="34" charset="0"/>
              </a:rPr>
              <a:t>into groups </a:t>
            </a:r>
            <a:r>
              <a:rPr lang="en-US" sz="2000" dirty="0" smtClean="0">
                <a:latin typeface="Calibri" panose="020F0502020204030204" pitchFamily="34" charset="0"/>
              </a:rPr>
              <a:t>of roughly equal siz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47800" y="2146300"/>
            <a:ext cx="725084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Calibri" panose="020F0502020204030204" pitchFamily="34" charset="0"/>
              </a:rPr>
              <a:t>Each group will be assigned one scenario in either a low prevalence or a high prevalence settings </a:t>
            </a:r>
          </a:p>
          <a:p>
            <a:endParaRPr lang="en-US" sz="2000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r>
              <a:rPr lang="en-US" sz="2000" dirty="0" smtClean="0">
                <a:latin typeface="Calibri" panose="020F0502020204030204" pitchFamily="34" charset="0"/>
              </a:rPr>
              <a:t>The objective will be to design a strategy that satisfies the criteria listed below: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</a:rPr>
              <a:t>Minimize cost to identify 90% of PLHIV (First 90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</a:rPr>
              <a:t>Minimize cost to identify 50% of PLHIV (current allocation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</a:rPr>
              <a:t>Maximize </a:t>
            </a:r>
            <a:r>
              <a:rPr lang="en-US" sz="2000" dirty="0">
                <a:latin typeface="Calibri" panose="020F0502020204030204" pitchFamily="34" charset="0"/>
              </a:rPr>
              <a:t>number of people tested for HIV within the current </a:t>
            </a:r>
            <a:r>
              <a:rPr lang="en-US" sz="2000" dirty="0" smtClean="0">
                <a:latin typeface="Calibri" panose="020F0502020204030204" pitchFamily="34" charset="0"/>
              </a:rPr>
              <a:t>budge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</a:rPr>
              <a:t>Maximize </a:t>
            </a:r>
            <a:r>
              <a:rPr lang="en-US" sz="2000" dirty="0">
                <a:latin typeface="Calibri" panose="020F0502020204030204" pitchFamily="34" charset="0"/>
              </a:rPr>
              <a:t>number of PLHIV identified within the current </a:t>
            </a:r>
            <a:r>
              <a:rPr lang="en-US" sz="2000" dirty="0" smtClean="0">
                <a:latin typeface="Calibri" panose="020F0502020204030204" pitchFamily="34" charset="0"/>
              </a:rPr>
              <a:t>budget</a:t>
            </a:r>
          </a:p>
        </p:txBody>
      </p:sp>
      <p:sp>
        <p:nvSpPr>
          <p:cNvPr id="3" name="Right Arrow 2"/>
          <p:cNvSpPr/>
          <p:nvPr/>
        </p:nvSpPr>
        <p:spPr bwMode="auto">
          <a:xfrm>
            <a:off x="749300" y="1524000"/>
            <a:ext cx="457200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409700" y="5791200"/>
            <a:ext cx="72889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latin typeface="Calibri" panose="020F0502020204030204" pitchFamily="34" charset="0"/>
              </a:rPr>
              <a:t>Each group will have 10 minutes to complete the exercise and then report back to the full group</a:t>
            </a:r>
            <a:endParaRPr lang="en-US" sz="2000" dirty="0">
              <a:latin typeface="Calibri" panose="020F0502020204030204" pitchFamily="34" charset="0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749300" y="5916543"/>
            <a:ext cx="457200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749300" y="2286000"/>
            <a:ext cx="457200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ight Arrow 8"/>
          <p:cNvSpPr/>
          <p:nvPr/>
        </p:nvSpPr>
        <p:spPr bwMode="auto">
          <a:xfrm>
            <a:off x="749300" y="3200400"/>
            <a:ext cx="457200" cy="4572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27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9144000" cy="101900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120650" indent="-1588" eaLnBrk="0" fontAlgn="auto" hangingPunct="0">
              <a:spcAft>
                <a:spcPts val="0"/>
              </a:spcAft>
            </a:pPr>
            <a:r>
              <a:rPr lang="en-US" kern="1200" dirty="0" smtClean="0">
                <a:solidFill>
                  <a:prstClr val="white"/>
                </a:solidFill>
                <a:latin typeface="Calibri"/>
                <a:ea typeface="ＭＳ Ｐゴシック"/>
                <a:cs typeface="Calibri"/>
              </a:rPr>
              <a:t>Report back</a:t>
            </a:r>
            <a:endParaRPr lang="en-US" kern="1200" dirty="0">
              <a:solidFill>
                <a:prstClr val="white"/>
              </a:solidFill>
              <a:latin typeface="Calibri"/>
              <a:ea typeface="ＭＳ Ｐゴシック"/>
              <a:cs typeface="Calibri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4169455"/>
              </p:ext>
            </p:extLst>
          </p:nvPr>
        </p:nvGraphicFramePr>
        <p:xfrm>
          <a:off x="152400" y="1295400"/>
          <a:ext cx="4014108" cy="355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2414194"/>
              </p:ext>
            </p:extLst>
          </p:nvPr>
        </p:nvGraphicFramePr>
        <p:xfrm>
          <a:off x="4248149" y="3101066"/>
          <a:ext cx="4748895" cy="3528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3"/>
          <p:cNvSpPr txBox="1"/>
          <p:nvPr/>
        </p:nvSpPr>
        <p:spPr>
          <a:xfrm>
            <a:off x="1254579" y="2102303"/>
            <a:ext cx="639535" cy="28575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E6AEBA-A570-4B62-80A3-0A122F7D6A35}" type="TxLink"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.36%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4"/>
          <p:cNvSpPr txBox="1"/>
          <p:nvPr/>
        </p:nvSpPr>
        <p:spPr>
          <a:xfrm>
            <a:off x="1281793" y="2347233"/>
            <a:ext cx="541367" cy="31149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V+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2182585" y="2091419"/>
            <a:ext cx="639535" cy="28575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21B654-D2A1-4B9E-A7E4-A89C1CBB1B8E}" type="TxLink"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.47%</a:t>
            </a:fld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6"/>
          <p:cNvSpPr txBox="1"/>
          <p:nvPr/>
        </p:nvSpPr>
        <p:spPr>
          <a:xfrm>
            <a:off x="2209799" y="2336349"/>
            <a:ext cx="541367" cy="31149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V+</a:t>
            </a:r>
          </a:p>
        </p:txBody>
      </p:sp>
      <p:sp>
        <p:nvSpPr>
          <p:cNvPr id="11" name="TextBox 7"/>
          <p:cNvSpPr txBox="1"/>
          <p:nvPr/>
        </p:nvSpPr>
        <p:spPr>
          <a:xfrm>
            <a:off x="7017205" y="4112080"/>
            <a:ext cx="727982" cy="25853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A3BB5-88C4-48D6-94F9-259A3A4DD194}" type="TxLink"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$82.1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8"/>
          <p:cNvSpPr txBox="1"/>
          <p:nvPr/>
        </p:nvSpPr>
        <p:spPr>
          <a:xfrm>
            <a:off x="6851200" y="4305299"/>
            <a:ext cx="1031420" cy="4680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 HIV+ identified</a:t>
            </a:r>
          </a:p>
        </p:txBody>
      </p:sp>
      <p:sp>
        <p:nvSpPr>
          <p:cNvPr id="13" name="TextBox 9"/>
          <p:cNvSpPr txBox="1"/>
          <p:nvPr/>
        </p:nvSpPr>
        <p:spPr>
          <a:xfrm>
            <a:off x="7941132" y="4838698"/>
            <a:ext cx="715734" cy="266702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BE6C8-4A1F-4B84-9E90-1DBC35D10B45}" type="TxLink"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$64.33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0"/>
          <p:cNvSpPr txBox="1"/>
          <p:nvPr/>
        </p:nvSpPr>
        <p:spPr>
          <a:xfrm>
            <a:off x="7803702" y="5029200"/>
            <a:ext cx="1031420" cy="4680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 HIV+ identifie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52400" y="5040076"/>
            <a:ext cx="4131132" cy="15893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Calibri" panose="020F0502020204030204" pitchFamily="34" charset="0"/>
              </a:rPr>
              <a:t>Describe your testing program.</a:t>
            </a:r>
          </a:p>
          <a:p>
            <a:endParaRPr lang="en-US" dirty="0">
              <a:latin typeface="Calibri" panose="020F0502020204030204" pitchFamily="34" charset="0"/>
            </a:endParaRPr>
          </a:p>
          <a:p>
            <a:r>
              <a:rPr lang="en-US" dirty="0" smtClean="0">
                <a:latin typeface="Calibri" panose="020F0502020204030204" pitchFamily="34" charset="0"/>
              </a:rPr>
              <a:t>What was you strategy for designing the testing program?</a:t>
            </a:r>
            <a:endParaRPr lang="en-US" dirty="0">
              <a:latin typeface="Calibri" panose="020F0502020204030204" pitchFamily="34" charset="0"/>
            </a:endParaRPr>
          </a:p>
          <a:p>
            <a:endParaRPr lang="en-US" dirty="0" smtClean="0">
              <a:latin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72000" y="1219199"/>
            <a:ext cx="3959680" cy="18287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r>
              <a:rPr lang="en-US" dirty="0" smtClean="0">
                <a:latin typeface="Calibri" panose="020F0502020204030204" pitchFamily="34" charset="0"/>
              </a:rPr>
              <a:t>What </a:t>
            </a:r>
            <a:r>
              <a:rPr lang="en-US" dirty="0">
                <a:latin typeface="Calibri" panose="020F0502020204030204" pitchFamily="34" charset="0"/>
              </a:rPr>
              <a:t>criteria did you use to select testing coverage</a:t>
            </a:r>
            <a:r>
              <a:rPr lang="en-US" dirty="0" smtClean="0">
                <a:latin typeface="Calibri" panose="020F0502020204030204" pitchFamily="34" charset="0"/>
              </a:rPr>
              <a:t>?</a:t>
            </a:r>
          </a:p>
          <a:p>
            <a:endParaRPr lang="en-US" dirty="0">
              <a:latin typeface="Calibri" panose="020F0502020204030204" pitchFamily="34" charset="0"/>
            </a:endParaRPr>
          </a:p>
          <a:p>
            <a:r>
              <a:rPr lang="en-US" dirty="0" smtClean="0">
                <a:latin typeface="Calibri" panose="020F0502020204030204" pitchFamily="34" charset="0"/>
              </a:rPr>
              <a:t>What programmatic considerations did you take into account?</a:t>
            </a:r>
          </a:p>
        </p:txBody>
      </p:sp>
    </p:spTree>
    <p:extLst>
      <p:ext uri="{BB962C8B-B14F-4D97-AF65-F5344CB8AC3E}">
        <p14:creationId xmlns:p14="http://schemas.microsoft.com/office/powerpoint/2010/main" val="300703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jz_T_mE0WAOpKjG5jZa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Riug2YTU.Nle9AIiE.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c6Mn5p6UWnPbyelW76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2ljwpTwk6D.sJctQde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XKIXOhL0yTHhYC_hCr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akJr6mRkWDBsVTb14N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yuJds8ukWIk8wjsidG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Saa7dU6EOhwHd451fE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UoSOOEDE6LFMn7.4af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02O.hrakO.83uIw2g8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gx2Z5570GfrWm29yA8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gB1UZbF02xOrtZ0K9P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6ZHD34UkCFfy9dXT0N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vKNX2bUiDw16FaQft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mdPAHtk.8OhZVdmEv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XZ4mKouUO.Kbr9EIFv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ZWzyEMjUeN7E9HHplP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Ti4KIzcUSFuT1RvfJi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.D_9KKEqpW0vxGUUo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iJlH8B0SCDbtvaca9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7Mr8_r3kWdPDNdmANm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Z1Ap2N9U.B_yRWHl0x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8.Scl0o0aoJ0ljKbGJ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puQ2fmUyfz19JN0hg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SZXjUg2Uqrx3XZA0vP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2uEt3UECD2MQKvA_L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Sz9ow670y6Dv1GwJGn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SL.H2t8UG2t4QWCNWP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hYmr1H8kSA0HRjEO1r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tEwL2HUi4SJ4JwhNx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3yM9l.kyTkK54MBAb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l6AlwmD02tZHqimXS7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ieHr02m0mKbOmfwSyy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9tl9EX302wllevQm3R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FRRj5QLUW5Bu9w7.4T8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XnnwRgzk.X16_LCSFZ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okJEA2nke6mmdPsBPA1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ihmSVmgUeDOuq6f3mx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IvplHuokuWCtj.UQ9G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Presentation &amp;Title:"/>
  <p:tag name="FILL" val="true"/>
  <p:tag name="OPTIONAL" val="false"/>
  <p:tag name="NAME" val="Presentation Title"/>
  <p:tag name="HEIGHT" val="1"/>
  <p:tag name="INDENTED" val="false"/>
  <p:tag name="CAPTION HEIGHT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BrUkkna06MIla8Q0Zb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qqxsuJ7UyXru3hjQkr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vukEkn0kSqNl80UXQu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cMfZMk0Sw3NYAECh_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yE.HkfAESAd7xBcvnh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HAI 2-smaller fo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GMAL powerpoint template">
  <a:themeElements>
    <a:clrScheme name="">
      <a:dk1>
        <a:srgbClr val="000000"/>
      </a:dk1>
      <a:lt1>
        <a:srgbClr val="FFFFFF"/>
      </a:lt1>
      <a:dk2>
        <a:srgbClr val="284A8C"/>
      </a:dk2>
      <a:lt2>
        <a:srgbClr val="B2B2B2"/>
      </a:lt2>
      <a:accent1>
        <a:srgbClr val="C3C3EB"/>
      </a:accent1>
      <a:accent2>
        <a:srgbClr val="C0D192"/>
      </a:accent2>
      <a:accent3>
        <a:srgbClr val="FFFFFF"/>
      </a:accent3>
      <a:accent4>
        <a:srgbClr val="000000"/>
      </a:accent4>
      <a:accent5>
        <a:srgbClr val="DEDEF3"/>
      </a:accent5>
      <a:accent6>
        <a:srgbClr val="AEBD84"/>
      </a:accent6>
      <a:hlink>
        <a:srgbClr val="788DCC"/>
      </a:hlink>
      <a:folHlink>
        <a:srgbClr val="BF071A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9440" tIns="49721" rIns="99440" bIns="49721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9440" tIns="49721" rIns="99440" bIns="49721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 marL="231775" indent="-231775">
          <a:buFont typeface="Arial" pitchFamily="34" charset="0"/>
          <a:buChar char="•"/>
          <a:defRPr sz="2400" dirty="0" err="1" smtClean="0">
            <a:latin typeface="Calibri" pitchFamily="34" charset="0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000000"/>
        </a:dk1>
        <a:lt1>
          <a:srgbClr val="FFFFFF"/>
        </a:lt1>
        <a:dk2>
          <a:srgbClr val="284A8C"/>
        </a:dk2>
        <a:lt2>
          <a:srgbClr val="808080"/>
        </a:lt2>
        <a:accent1>
          <a:srgbClr val="E2EED1"/>
        </a:accent1>
        <a:accent2>
          <a:srgbClr val="BF071A"/>
        </a:accent2>
        <a:accent3>
          <a:srgbClr val="FFFFFF"/>
        </a:accent3>
        <a:accent4>
          <a:srgbClr val="000000"/>
        </a:accent4>
        <a:accent5>
          <a:srgbClr val="EEF5E5"/>
        </a:accent5>
        <a:accent6>
          <a:srgbClr val="AD0616"/>
        </a:accent6>
        <a:hlink>
          <a:srgbClr val="788DCC"/>
        </a:hlink>
        <a:folHlink>
          <a:srgbClr val="D7B6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791</TotalTime>
  <Words>412</Words>
  <Application>Microsoft Office PowerPoint</Application>
  <PresentationFormat>On-screen Show (4:3)</PresentationFormat>
  <Paragraphs>70</Paragraphs>
  <Slides>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Office Theme</vt:lpstr>
      <vt:lpstr>CHAI 2-smaller font</vt:lpstr>
      <vt:lpstr>GMAL powerpoint template</vt:lpstr>
      <vt:lpstr>think-cell Slide</vt:lpstr>
      <vt:lpstr>Chart</vt:lpstr>
      <vt:lpstr>PowerPoint Presentation</vt:lpstr>
      <vt:lpstr>Simulation objectives</vt:lpstr>
      <vt:lpstr>PowerPoint Presentation</vt:lpstr>
      <vt:lpstr>PowerPoint Presentation</vt:lpstr>
      <vt:lpstr>PowerPoint Presentation</vt:lpstr>
      <vt:lpstr>PowerPoint Presentation</vt:lpstr>
      <vt:lpstr>Report back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ie Pollak</dc:creator>
  <cp:lastModifiedBy>Seth McGovern</cp:lastModifiedBy>
  <cp:revision>1150</cp:revision>
  <dcterms:created xsi:type="dcterms:W3CDTF">2017-04-12T16:52:10Z</dcterms:created>
  <dcterms:modified xsi:type="dcterms:W3CDTF">2018-07-25T10:00:06Z</dcterms:modified>
</cp:coreProperties>
</file>